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474" r:id="rId2"/>
    <p:sldId id="463" r:id="rId3"/>
    <p:sldId id="479" r:id="rId4"/>
    <p:sldId id="505" r:id="rId5"/>
    <p:sldId id="485" r:id="rId6"/>
    <p:sldId id="506" r:id="rId7"/>
    <p:sldId id="507" r:id="rId8"/>
    <p:sldId id="508" r:id="rId9"/>
    <p:sldId id="511" r:id="rId10"/>
    <p:sldId id="509" r:id="rId11"/>
    <p:sldId id="510" r:id="rId12"/>
    <p:sldId id="512" r:id="rId13"/>
    <p:sldId id="513" r:id="rId14"/>
    <p:sldId id="473" r:id="rId15"/>
    <p:sldId id="500" r:id="rId16"/>
    <p:sldId id="478" r:id="rId17"/>
  </p:sldIdLst>
  <p:sldSz cx="9144000" cy="6858000" type="screen4x3"/>
  <p:notesSz cx="6797675" cy="9926638"/>
  <p:custDataLst>
    <p:tags r:id="rId20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03">
          <p15:clr>
            <a:srgbClr val="A4A3A4"/>
          </p15:clr>
        </p15:guide>
        <p15:guide id="3" orient="horz" pos="471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pos="5663">
          <p15:clr>
            <a:srgbClr val="A4A3A4"/>
          </p15:clr>
        </p15:guide>
        <p15:guide id="6" pos="98">
          <p15:clr>
            <a:srgbClr val="A4A3A4"/>
          </p15:clr>
        </p15:guide>
        <p15:guide id="7" pos="1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45"/>
    <a:srgbClr val="124768"/>
    <a:srgbClr val="E0D9D0"/>
    <a:srgbClr val="FFFFFF"/>
    <a:srgbClr val="9A8419"/>
    <a:srgbClr val="44697D"/>
    <a:srgbClr val="EFECE7"/>
    <a:srgbClr val="968400"/>
    <a:srgbClr val="A6BECD"/>
    <a:srgbClr val="FFA2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97" autoAdjust="0"/>
    <p:restoredTop sz="73390" autoAdjust="0"/>
  </p:normalViewPr>
  <p:slideViewPr>
    <p:cSldViewPr snapToGrid="0">
      <p:cViewPr varScale="1">
        <p:scale>
          <a:sx n="63" d="100"/>
          <a:sy n="63" d="100"/>
        </p:scale>
        <p:origin x="58" y="101"/>
      </p:cViewPr>
      <p:guideLst>
        <p:guide orient="horz" pos="618"/>
        <p:guide orient="horz" pos="403"/>
        <p:guide orient="horz" pos="471"/>
        <p:guide orient="horz" pos="754"/>
        <p:guide pos="5663"/>
        <p:guide pos="98"/>
        <p:guide pos="166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459"/>
    </p:cViewPr>
  </p:sorterViewPr>
  <p:notesViewPr>
    <p:cSldViewPr snapToGrid="0">
      <p:cViewPr varScale="1">
        <p:scale>
          <a:sx n="90" d="100"/>
          <a:sy n="90" d="100"/>
        </p:scale>
        <p:origin x="-3750" y="-114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2822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t" anchorCtr="0" compatLnSpc="1">
            <a:prstTxWarp prst="textNoShape">
              <a:avLst/>
            </a:prstTxWarp>
          </a:bodyPr>
          <a:lstStyle>
            <a:lvl1pPr algn="l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4213" y="1"/>
            <a:ext cx="2941301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t" anchorCtr="0" compatLnSpc="1">
            <a:prstTxWarp prst="textNoShape">
              <a:avLst/>
            </a:prstTxWarp>
          </a:bodyPr>
          <a:lstStyle>
            <a:lvl1pPr algn="r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2354"/>
            <a:ext cx="2942822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b" anchorCtr="0" compatLnSpc="1">
            <a:prstTxWarp prst="textNoShape">
              <a:avLst/>
            </a:prstTxWarp>
          </a:bodyPr>
          <a:lstStyle>
            <a:lvl1pPr algn="l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4213" y="9392354"/>
            <a:ext cx="2941301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b" anchorCtr="0" compatLnSpc="1">
            <a:prstTxWarp prst="textNoShape">
              <a:avLst/>
            </a:prstTxWarp>
          </a:bodyPr>
          <a:lstStyle>
            <a:lvl1pPr algn="r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5D8EDE25-3C5E-4A74-AA9F-283BAB55157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49775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>
            <a:lvl1pPr algn="l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815" y="1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>
            <a:lvl1pPr algn="r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472" y="4714655"/>
            <a:ext cx="4982732" cy="4468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384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b" anchorCtr="0" compatLnSpc="1">
            <a:prstTxWarp prst="textNoShape">
              <a:avLst/>
            </a:prstTxWarp>
          </a:bodyPr>
          <a:lstStyle>
            <a:lvl1pPr algn="l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815" y="9432384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b" anchorCtr="0" compatLnSpc="1">
            <a:prstTxWarp prst="textNoShape">
              <a:avLst/>
            </a:prstTxWarp>
          </a:bodyPr>
          <a:lstStyle>
            <a:lvl1pPr algn="r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CF5EC8C2-FA85-4D98-A4FB-69F907BE04E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4145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88902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2426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390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7539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739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302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Vielen Dank für Ihre Aufmerksamkeit. 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42411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7369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9415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902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621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1292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233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920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773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386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12" Type="http://schemas.openxmlformats.org/officeDocument/2006/relationships/image" Target="../media/image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.png"/><Relationship Id="rId4" Type="http://schemas.openxmlformats.org/officeDocument/2006/relationships/image" Target="../media/image7.jpeg"/><Relationship Id="rId9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7" Type="http://schemas.openxmlformats.org/officeDocument/2006/relationships/image" Target="../media/image1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2710"/>
            <a:ext cx="9144000" cy="368046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63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468000" y="6571872"/>
            <a:ext cx="8023225" cy="303679"/>
          </a:xfrm>
        </p:spPr>
        <p:txBody>
          <a:bodyPr/>
          <a:lstStyle>
            <a:lvl1pPr>
              <a:defRPr>
                <a:solidFill>
                  <a:srgbClr val="AFA89B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Untertitel 1"/>
          <p:cNvSpPr txBox="1">
            <a:spLocks/>
          </p:cNvSpPr>
          <p:nvPr userDrawn="1"/>
        </p:nvSpPr>
        <p:spPr bwMode="auto">
          <a:xfrm>
            <a:off x="0" y="4741201"/>
            <a:ext cx="9143999" cy="51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900113" indent="-442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Font typeface="Wingdings" pitchFamily="2" charset="2"/>
              <a:buBlip>
                <a:blip r:embed="rId7"/>
              </a:buBlip>
              <a:defRPr sz="2000">
                <a:solidFill>
                  <a:srgbClr val="002645"/>
                </a:solidFill>
                <a:latin typeface="+mn-lt"/>
              </a:defRPr>
            </a:lvl2pPr>
            <a:lvl3pPr marL="1524000" indent="-449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Font typeface="Wingdings" pitchFamily="2" charset="2"/>
              <a:buBlip>
                <a:blip r:embed="rId8"/>
              </a:buBlip>
              <a:defRPr sz="1600">
                <a:solidFill>
                  <a:srgbClr val="002645"/>
                </a:solidFill>
                <a:latin typeface="+mn-lt"/>
              </a:defRPr>
            </a:lvl3pPr>
            <a:lvl4pPr marL="2082800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Blip>
                <a:blip r:embed="rId9"/>
              </a:buBlip>
              <a:defRPr sz="1600">
                <a:solidFill>
                  <a:srgbClr val="002645"/>
                </a:solidFill>
                <a:latin typeface="+mn-lt"/>
              </a:defRPr>
            </a:lvl4pPr>
            <a:lvl5pPr marL="24257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en-US" b="0" i="0" dirty="0" smtClean="0">
                <a:solidFill>
                  <a:srgbClr val="124768"/>
                </a:solidFill>
                <a:latin typeface="+mj-lt"/>
                <a:cs typeface="Univers LT Std 47 Cn Lt"/>
              </a:rPr>
              <a:t>IT is more than technology</a:t>
            </a:r>
            <a:endParaRPr lang="de-DE" b="0" i="0" dirty="0">
              <a:solidFill>
                <a:srgbClr val="124768"/>
              </a:solidFill>
              <a:latin typeface="+mj-lt"/>
              <a:cs typeface="Univers LT Std 47 Cn Lt"/>
            </a:endParaRPr>
          </a:p>
        </p:txBody>
      </p:sp>
      <p:sp>
        <p:nvSpPr>
          <p:cNvPr id="11" name="Untertitel 1"/>
          <p:cNvSpPr>
            <a:spLocks noGrp="1"/>
          </p:cNvSpPr>
          <p:nvPr>
            <p:ph type="subTitle" idx="1" hasCustomPrompt="1"/>
          </p:nvPr>
        </p:nvSpPr>
        <p:spPr>
          <a:xfrm>
            <a:off x="1" y="5369094"/>
            <a:ext cx="9143998" cy="762000"/>
          </a:xfrm>
          <a:prstGeom prst="rect">
            <a:avLst/>
          </a:prstGeom>
        </p:spPr>
        <p:txBody>
          <a:bodyPr tIns="0" bIns="0" anchor="ctr" anchorCtr="1"/>
          <a:lstStyle>
            <a:lvl1pPr marL="0" indent="0" algn="ctr">
              <a:buNone/>
              <a:defRPr sz="2400" b="0" i="0" u="none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en-US" i="1" dirty="0" err="1" smtClean="0">
                <a:latin typeface="Univers LT Std 47 Cn Lt" pitchFamily="2" charset="0"/>
              </a:rPr>
              <a:t>Präsentationstitel</a:t>
            </a:r>
            <a:endParaRPr lang="de-DE" i="1" dirty="0">
              <a:latin typeface="Univers LT Std 47 Cn Lt" pitchFamily="2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077" y="4960298"/>
            <a:ext cx="617422" cy="115964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015" y="4960298"/>
            <a:ext cx="477412" cy="1170796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68000" y="180000"/>
            <a:ext cx="1744869" cy="540825"/>
          </a:xfrm>
          <a:prstGeom prst="rect">
            <a:avLst/>
          </a:prstGeom>
        </p:spPr>
        <p:txBody>
          <a:bodyPr vert="horz" anchor="ctr" anchorCtr="1"/>
          <a:lstStyle>
            <a:lvl1pPr marL="0" indent="0" algn="ctr">
              <a:buNone/>
              <a:defRPr sz="1600"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Platz für Kunden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63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9496" b="19215"/>
          <a:stretch/>
        </p:blipFill>
        <p:spPr>
          <a:xfrm>
            <a:off x="4713543" y="2300112"/>
            <a:ext cx="4430457" cy="430264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11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2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5854786" cy="623888"/>
          </a:xfrm>
          <a:prstGeom prst="rect">
            <a:avLst/>
          </a:prstGeom>
        </p:spPr>
        <p:txBody>
          <a:bodyPr lIns="0" tIns="45720" rIns="91440" bIns="45720" anchor="ctr">
            <a:normAutofit/>
          </a:bodyPr>
          <a:lstStyle>
            <a:lvl1pPr algn="l">
              <a:defRPr b="0" i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Inhal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100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sp>
        <p:nvSpPr>
          <p:cNvPr id="8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>
                <a:solidFill>
                  <a:srgbClr val="124768"/>
                </a:solidFill>
                <a:latin typeface="Univers LT Std 47 Cn Lt" pitchFamily="34" charset="0"/>
              </a:defRPr>
            </a:lvl1pPr>
          </a:lstStyle>
          <a:p>
            <a:r>
              <a:rPr lang="de-DE" dirty="0" smtClean="0"/>
              <a:t>Inhalt ohne Hintergrund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10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0" y="1189038"/>
            <a:ext cx="8302925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5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7959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ufzähl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189038"/>
            <a:ext cx="8302925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Aufzählung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mit Kasten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blau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rgbClr val="FFFFFF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41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mit Kasten Technolo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grau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240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mit Kasten Fachwis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goldbrau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accent4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063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lder 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243583"/>
            <a:ext cx="9144000" cy="2663134"/>
          </a:xfrm>
          <a:prstGeom prst="rect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44697D"/>
              </a:solidFill>
              <a:effectLst/>
              <a:uLnTx/>
              <a:uFillTx/>
              <a:latin typeface="Univers LT Std 47 Cn Lt" pitchFamily="34" charset="0"/>
            </a:endParaRP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471714" y="1387930"/>
            <a:ext cx="3828824" cy="2376713"/>
          </a:xfrm>
          <a:prstGeom prst="rect">
            <a:avLst/>
          </a:prstGeom>
          <a:noFill/>
        </p:spPr>
        <p:txBody>
          <a:bodyPr vert="horz" lIns="0"/>
          <a:lstStyle>
            <a:lvl1pPr marL="0" indent="0">
              <a:buClrTx/>
              <a:buSzPct val="80000"/>
              <a:buFont typeface="Arial"/>
              <a:buNone/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2pPr>
            <a:lvl3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3pPr>
            <a:lvl4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4pPr>
            <a:lvl5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6"/>
          </p:nvPr>
        </p:nvSpPr>
        <p:spPr>
          <a:xfrm>
            <a:off x="4853215" y="1387929"/>
            <a:ext cx="3828142" cy="2376714"/>
          </a:xfrm>
          <a:prstGeom prst="rect">
            <a:avLst/>
          </a:prstGeom>
          <a:ln>
            <a:noFill/>
          </a:ln>
        </p:spPr>
        <p:txBody>
          <a:bodyPr vert="horz" lIns="0"/>
          <a:lstStyle>
            <a:lvl1pPr marL="0" indent="0">
              <a:buNone/>
              <a:defRPr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</a:lstStyle>
          <a:p>
            <a:r>
              <a:rPr lang="de-DE" dirty="0" smtClean="0"/>
              <a:t>Bild</a:t>
            </a:r>
            <a:endParaRPr lang="de-DE" dirty="0"/>
          </a:p>
        </p:txBody>
      </p:sp>
      <p:sp>
        <p:nvSpPr>
          <p:cNvPr id="10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Beispiel Bilder Textkasten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480678" y="4042872"/>
            <a:ext cx="3828824" cy="2195285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 marL="0" indent="-16920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36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54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720000" indent="-169200">
              <a:spcBef>
                <a:spcPts val="24"/>
              </a:spcBef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9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90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8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860376" y="4042800"/>
            <a:ext cx="3828824" cy="2195285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 marL="0" indent="-169200">
              <a:buClr>
                <a:schemeClr val="accent1"/>
              </a:buClr>
              <a:buSzPct val="100000"/>
              <a:buFontTx/>
              <a:buBlip>
                <a:blip r:embed="rId2"/>
              </a:buBlip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36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54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720000" indent="-169200">
              <a:spcBef>
                <a:spcPts val="24"/>
              </a:spcBef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9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90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8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12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14" name="Grafik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64"/>
          <a:stretch/>
        </p:blipFill>
        <p:spPr>
          <a:xfrm>
            <a:off x="3935657" y="1360270"/>
            <a:ext cx="5211518" cy="3301887"/>
          </a:xfrm>
          <a:prstGeom prst="rect">
            <a:avLst/>
          </a:prstGeom>
        </p:spPr>
      </p:pic>
      <p:sp>
        <p:nvSpPr>
          <p:cNvPr id="15" name="Inhaltsplatzhalter 15"/>
          <p:cNvSpPr txBox="1">
            <a:spLocks/>
          </p:cNvSpPr>
          <p:nvPr userDrawn="1"/>
        </p:nvSpPr>
        <p:spPr>
          <a:xfrm>
            <a:off x="3935351" y="4662157"/>
            <a:ext cx="5208649" cy="1485524"/>
          </a:xfrm>
          <a:prstGeom prst="rect">
            <a:avLst/>
          </a:prstGeom>
          <a:solidFill>
            <a:srgbClr val="DAE1E5"/>
          </a:solidFill>
          <a:ln w="38100">
            <a:noFill/>
          </a:ln>
        </p:spPr>
        <p:txBody>
          <a:bodyPr/>
          <a:lstStyle>
            <a:lvl1pPr marL="180975" indent="-180975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Tx/>
              <a:buBlip>
                <a:blip r:embed="rId3"/>
              </a:buBlip>
              <a:tabLst>
                <a:tab pos="87313" algn="l"/>
              </a:tabLst>
              <a:defRPr sz="1800">
                <a:solidFill>
                  <a:srgbClr val="002645"/>
                </a:solidFill>
                <a:latin typeface="Univers LT Std 47 Cn Lt" pitchFamily="34" charset="0"/>
                <a:ea typeface="+mn-ea"/>
                <a:cs typeface="+mn-cs"/>
              </a:defRPr>
            </a:lvl1pPr>
            <a:lvl2pPr marL="623888" indent="-166688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  <a:tab pos="536575" algn="l"/>
              </a:tabLst>
              <a:defRPr sz="1600">
                <a:solidFill>
                  <a:srgbClr val="002645"/>
                </a:solidFill>
                <a:latin typeface="Univers LT Std 47 Cn Lt" pitchFamily="34" charset="0"/>
              </a:defRPr>
            </a:lvl2pPr>
            <a:lvl3pPr marL="1255713" indent="-182563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400" baseline="0">
                <a:solidFill>
                  <a:srgbClr val="002645"/>
                </a:solidFill>
                <a:latin typeface="Univers LT Std 47 Cn Lt" pitchFamily="34" charset="0"/>
              </a:defRPr>
            </a:lvl3pPr>
            <a:lvl4pPr marL="1879600" indent="-1651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200">
                <a:solidFill>
                  <a:srgbClr val="002645"/>
                </a:solidFill>
                <a:latin typeface="Univers LT Std 47 Cn Lt" pitchFamily="34" charset="0"/>
              </a:defRPr>
            </a:lvl4pPr>
            <a:lvl5pPr marL="2328863" indent="-131763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000">
                <a:solidFill>
                  <a:srgbClr val="002645"/>
                </a:solidFill>
                <a:latin typeface="Univers LT Std 47 Cn Lt" pitchFamily="34" charset="0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 marL="0" indent="0">
              <a:spcBef>
                <a:spcPts val="140"/>
              </a:spcBef>
              <a:buClr>
                <a:srgbClr val="004764"/>
              </a:buClr>
              <a:buFontTx/>
              <a:buNone/>
            </a:pPr>
            <a:endParaRPr lang="de-DE" sz="1100" b="0" kern="0" dirty="0"/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681" y="4826850"/>
            <a:ext cx="464867" cy="1140032"/>
          </a:xfrm>
          <a:prstGeom prst="rect">
            <a:avLst/>
          </a:prstGeom>
        </p:spPr>
      </p:pic>
      <p:pic>
        <p:nvPicPr>
          <p:cNvPr id="17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522" y="4826850"/>
            <a:ext cx="606980" cy="1140032"/>
          </a:xfrm>
          <a:prstGeom prst="rect">
            <a:avLst/>
          </a:prstGeom>
        </p:spPr>
      </p:pic>
      <p:sp>
        <p:nvSpPr>
          <p:cNvPr id="18" name="Textfeld 17"/>
          <p:cNvSpPr txBox="1"/>
          <p:nvPr userDrawn="1"/>
        </p:nvSpPr>
        <p:spPr>
          <a:xfrm>
            <a:off x="4743449" y="4911644"/>
            <a:ext cx="1797967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Best of Consulting 2014 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1. Platz im Wettbewerb der </a:t>
            </a:r>
            <a:r>
              <a:rPr lang="de-DE" sz="1200" b="0" i="0" dirty="0" err="1" smtClean="0">
                <a:solidFill>
                  <a:srgbClr val="124768"/>
                </a:solidFill>
                <a:latin typeface="+mn-lt"/>
                <a:cs typeface="Univers LT Std 47 Cn Lt"/>
              </a:rPr>
              <a:t>Wirtschaftswoche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.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05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Kategorie: IT-Management</a:t>
            </a:r>
            <a:endParaRPr lang="de-DE" sz="1050" b="0" i="0" dirty="0">
              <a:solidFill>
                <a:srgbClr val="124768"/>
              </a:solidFill>
              <a:latin typeface="+mn-lt"/>
              <a:cs typeface="Univers LT Std 47 Cn Lt"/>
            </a:endParaRPr>
          </a:p>
        </p:txBody>
      </p:sp>
      <p:sp>
        <p:nvSpPr>
          <p:cNvPr id="19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Kontakt und Ansprechpartner</a:t>
            </a:r>
            <a:endParaRPr lang="de-DE" dirty="0"/>
          </a:p>
        </p:txBody>
      </p:sp>
      <p:sp>
        <p:nvSpPr>
          <p:cNvPr id="20" name="Inhaltsplatzhalter 2"/>
          <p:cNvSpPr>
            <a:spLocks noGrp="1"/>
          </p:cNvSpPr>
          <p:nvPr>
            <p:ph idx="1"/>
          </p:nvPr>
        </p:nvSpPr>
        <p:spPr>
          <a:xfrm>
            <a:off x="468001" y="1360271"/>
            <a:ext cx="3296477" cy="4787410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7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7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7120581" y="4903949"/>
            <a:ext cx="2110187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Beste Berater 2014 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im </a:t>
            </a:r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Branchenreport von </a:t>
            </a:r>
            <a:b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err="1">
                <a:solidFill>
                  <a:srgbClr val="124768"/>
                </a:solidFill>
                <a:latin typeface="+mn-lt"/>
                <a:cs typeface="Univers LT Std 47 Cn Lt"/>
              </a:rPr>
              <a:t>brand</a:t>
            </a:r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 eins 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Wissen und </a:t>
            </a:r>
            <a:r>
              <a:rPr lang="de-DE" sz="1200" b="0" i="0" dirty="0" err="1">
                <a:solidFill>
                  <a:srgbClr val="124768"/>
                </a:solidFill>
                <a:latin typeface="+mn-lt"/>
                <a:cs typeface="Univers LT Std 47 Cn Lt"/>
              </a:rPr>
              <a:t>Statista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.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05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Kategorie: IT-Implementierung</a:t>
            </a:r>
            <a:endParaRPr lang="de-DE" sz="1050" b="0" i="0" dirty="0">
              <a:solidFill>
                <a:srgbClr val="124768"/>
              </a:solidFill>
              <a:latin typeface="+mn-lt"/>
              <a:cs typeface="Univers LT Std 47 Cn Lt"/>
            </a:endParaRPr>
          </a:p>
        </p:txBody>
      </p:sp>
    </p:spTree>
    <p:extLst>
      <p:ext uri="{BB962C8B-B14F-4D97-AF65-F5344CB8AC3E}">
        <p14:creationId xmlns:p14="http://schemas.microsoft.com/office/powerpoint/2010/main" val="1479692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62162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" name="think-cell Folie" r:id="rId13" imgW="216" imgH="216" progId="TCLayout.ActiveDocument.1">
                  <p:embed/>
                </p:oleObj>
              </mc:Choice>
              <mc:Fallback>
                <p:oleObj name="think-cell Foli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6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="0" smtClean="0">
                <a:solidFill>
                  <a:srgbClr val="AFA89B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81" r:id="rId3"/>
    <p:sldLayoutId id="2147483661" r:id="rId4"/>
    <p:sldLayoutId id="2147483674" r:id="rId5"/>
    <p:sldLayoutId id="2147483679" r:id="rId6"/>
    <p:sldLayoutId id="2147483680" r:id="rId7"/>
    <p:sldLayoutId id="2147483677" r:id="rId8"/>
    <p:sldLayoutId id="214748367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rgbClr val="00264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9pPr>
    </p:titleStyle>
    <p:bodyStyle>
      <a:lvl1pPr marL="342900" indent="-342900" algn="l" defTabSz="216000" rtl="0" eaLnBrk="1" fontAlgn="base" hangingPunct="1">
        <a:spcBef>
          <a:spcPct val="20000"/>
        </a:spcBef>
        <a:spcAft>
          <a:spcPct val="0"/>
        </a:spcAft>
        <a:buSzPct val="70000"/>
        <a:buFontTx/>
        <a:buBlip>
          <a:blip r:embed="rId18"/>
        </a:buBlip>
        <a:defRPr sz="1800">
          <a:solidFill>
            <a:srgbClr val="002645"/>
          </a:solidFill>
          <a:latin typeface="+mn-lt"/>
          <a:ea typeface="+mn-ea"/>
          <a:cs typeface="+mn-cs"/>
        </a:defRPr>
      </a:lvl1pPr>
      <a:lvl2pPr marL="800100" indent="-34290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216000" algn="l"/>
        </a:tabLst>
        <a:defRPr sz="1400">
          <a:solidFill>
            <a:srgbClr val="002645"/>
          </a:solidFill>
          <a:latin typeface="+mn-lt"/>
        </a:defRPr>
      </a:lvl2pPr>
      <a:lvl3pPr marL="1360487" indent="-28575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108000" algn="l"/>
          <a:tab pos="216000" algn="l"/>
        </a:tabLst>
        <a:defRPr sz="1600" baseline="0">
          <a:solidFill>
            <a:srgbClr val="002645"/>
          </a:solidFill>
          <a:latin typeface="+mn-lt"/>
        </a:defRPr>
      </a:lvl3pPr>
      <a:lvl4pPr marL="2000250" indent="-28575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216000" algn="l"/>
        </a:tabLst>
        <a:defRPr sz="1600">
          <a:solidFill>
            <a:srgbClr val="002645"/>
          </a:solidFill>
          <a:latin typeface="+mn-lt"/>
        </a:defRPr>
      </a:lvl4pPr>
      <a:lvl5pPr marL="2482850" indent="-285750" algn="l" defTabSz="216000" rtl="0" eaLnBrk="1" fontAlgn="base" hangingPunct="1">
        <a:spcBef>
          <a:spcPct val="20000"/>
        </a:spcBef>
        <a:spcAft>
          <a:spcPct val="0"/>
        </a:spcAft>
        <a:buSzPct val="70000"/>
        <a:buFontTx/>
        <a:buBlip>
          <a:blip r:embed="rId18"/>
        </a:buBlip>
        <a:tabLst>
          <a:tab pos="216000" algn="l"/>
        </a:tabLst>
        <a:defRPr sz="1400">
          <a:solidFill>
            <a:srgbClr val="002645"/>
          </a:solidFill>
          <a:latin typeface="+mn-lt"/>
        </a:defRPr>
      </a:lvl5pPr>
      <a:lvl6pPr marL="28829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6pPr>
      <a:lvl7pPr marL="33401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7pPr>
      <a:lvl8pPr marL="37973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8pPr>
      <a:lvl9pPr marL="42545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it-economics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jugs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000" b="1" dirty="0" smtClean="0"/>
              <a:t>Einführung von </a:t>
            </a:r>
            <a:r>
              <a:rPr lang="de-DE" sz="2000" b="1" dirty="0" err="1" smtClean="0"/>
              <a:t>Selenium</a:t>
            </a:r>
            <a:r>
              <a:rPr lang="de-DE" sz="2000" b="1" dirty="0" smtClean="0"/>
              <a:t> 2 als Basis für </a:t>
            </a:r>
          </a:p>
          <a:p>
            <a:r>
              <a:rPr lang="de-DE" sz="2000" b="1" dirty="0" smtClean="0"/>
              <a:t>automatisierte HTML </a:t>
            </a:r>
            <a:r>
              <a:rPr lang="de-DE" sz="2000" b="1" dirty="0" smtClean="0"/>
              <a:t>Oberflächentests – </a:t>
            </a:r>
          </a:p>
          <a:p>
            <a:r>
              <a:rPr lang="de-DE" b="1" dirty="0" smtClean="0"/>
              <a:t>Übungen</a:t>
            </a: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139697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10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Voraussetzungen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IDE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WebDriver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smtClean="0"/>
              <a:t>Diskussion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711" y="3371164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4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1 : Abspielen der aufgenommenen Testfälle </a:t>
            </a:r>
            <a:endParaRPr lang="de-DE" dirty="0" smtClean="0"/>
          </a:p>
          <a:p>
            <a:pPr lvl="1"/>
            <a:r>
              <a:rPr lang="de-DE" dirty="0" smtClean="0"/>
              <a:t>Richte ein neues Java-Projekt ein</a:t>
            </a:r>
          </a:p>
          <a:p>
            <a:pPr lvl="1"/>
            <a:r>
              <a:rPr lang="de-DE" dirty="0" smtClean="0"/>
              <a:t>Importiere die generierten Java-Testklassen</a:t>
            </a:r>
          </a:p>
          <a:p>
            <a:pPr lvl="1"/>
            <a:r>
              <a:rPr lang="de-DE" dirty="0" smtClean="0"/>
              <a:t>Binde die erforderlichen </a:t>
            </a:r>
            <a:r>
              <a:rPr lang="de-DE" dirty="0" err="1" smtClean="0"/>
              <a:t>jars</a:t>
            </a:r>
            <a:r>
              <a:rPr lang="de-DE" dirty="0" smtClean="0"/>
              <a:t> ein</a:t>
            </a:r>
          </a:p>
          <a:p>
            <a:pPr lvl="1"/>
            <a:r>
              <a:rPr lang="de-DE" dirty="0" smtClean="0"/>
              <a:t>Lasse die Testfälle laufe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WebDriv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8311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2 : Erstellen von </a:t>
            </a:r>
            <a:r>
              <a:rPr lang="de-DE" dirty="0" err="1" smtClean="0"/>
              <a:t>PageObjects</a:t>
            </a:r>
            <a:endParaRPr lang="de-DE" dirty="0" smtClean="0"/>
          </a:p>
          <a:p>
            <a:pPr lvl="1"/>
            <a:r>
              <a:rPr lang="de-DE" dirty="0" smtClean="0"/>
              <a:t>Extrahiere die UI Elemente in separate Java-Klassen (</a:t>
            </a:r>
            <a:r>
              <a:rPr lang="de-DE" dirty="0" err="1" smtClean="0"/>
              <a:t>PageObjects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Lasse die </a:t>
            </a:r>
            <a:r>
              <a:rPr lang="de-DE" dirty="0" err="1" smtClean="0"/>
              <a:t>PageObjects</a:t>
            </a:r>
            <a:r>
              <a:rPr lang="de-DE" dirty="0" smtClean="0"/>
              <a:t> von </a:t>
            </a:r>
            <a:r>
              <a:rPr lang="de-DE" dirty="0" err="1" smtClean="0"/>
              <a:t>LoadableComponent</a:t>
            </a:r>
            <a:r>
              <a:rPr lang="de-DE" dirty="0" smtClean="0"/>
              <a:t>&lt;T&gt; erben</a:t>
            </a:r>
          </a:p>
          <a:p>
            <a:pPr lvl="1"/>
            <a:r>
              <a:rPr lang="de-DE" dirty="0" smtClean="0"/>
              <a:t>Annotiere die UI Elemente mit </a:t>
            </a:r>
          </a:p>
          <a:p>
            <a:pPr lvl="2"/>
            <a:r>
              <a:rPr lang="de-DE" dirty="0" smtClean="0"/>
              <a:t>@</a:t>
            </a:r>
            <a:r>
              <a:rPr lang="de-DE" dirty="0" err="1"/>
              <a:t>FindBy</a:t>
            </a:r>
            <a:r>
              <a:rPr lang="de-DE" dirty="0"/>
              <a:t>(</a:t>
            </a:r>
            <a:r>
              <a:rPr lang="de-DE" dirty="0" err="1"/>
              <a:t>id</a:t>
            </a:r>
            <a:r>
              <a:rPr lang="de-DE" dirty="0"/>
              <a:t> = </a:t>
            </a:r>
            <a:r>
              <a:rPr lang="de-DE" dirty="0" smtClean="0"/>
              <a:t>„</a:t>
            </a:r>
            <a:r>
              <a:rPr lang="de-DE" dirty="0" err="1" smtClean="0"/>
              <a:t>meineID</a:t>
            </a:r>
            <a:r>
              <a:rPr lang="de-DE" dirty="0" smtClean="0"/>
              <a:t>“)</a:t>
            </a:r>
          </a:p>
          <a:p>
            <a:pPr lvl="1"/>
            <a:r>
              <a:rPr lang="de-DE" dirty="0" smtClean="0"/>
              <a:t>Rufe aus dem Konstruktor auf: </a:t>
            </a:r>
          </a:p>
          <a:p>
            <a:pPr lvl="2"/>
            <a:r>
              <a:rPr lang="de-DE" dirty="0" err="1" smtClean="0"/>
              <a:t>PageFactory.initElements</a:t>
            </a:r>
            <a:r>
              <a:rPr lang="de-DE" dirty="0" smtClean="0"/>
              <a:t>(</a:t>
            </a:r>
            <a:r>
              <a:rPr lang="de-DE" dirty="0" err="1" smtClean="0"/>
              <a:t>getDriver</a:t>
            </a:r>
            <a:r>
              <a:rPr lang="de-DE" dirty="0"/>
              <a:t>(), </a:t>
            </a:r>
            <a:r>
              <a:rPr lang="de-DE" dirty="0" err="1"/>
              <a:t>this</a:t>
            </a:r>
            <a:r>
              <a:rPr lang="de-DE" dirty="0"/>
              <a:t>);</a:t>
            </a:r>
            <a:endParaRPr lang="de-DE" dirty="0" smtClean="0"/>
          </a:p>
          <a:p>
            <a:pPr lvl="1"/>
            <a:r>
              <a:rPr lang="de-DE" dirty="0" smtClean="0"/>
              <a:t>Baue die Testfälle so um, dass sie die </a:t>
            </a:r>
            <a:r>
              <a:rPr lang="de-DE" dirty="0" err="1" smtClean="0"/>
              <a:t>PageObjects</a:t>
            </a:r>
            <a:r>
              <a:rPr lang="de-DE" dirty="0" smtClean="0"/>
              <a:t> verwenden</a:t>
            </a:r>
          </a:p>
          <a:p>
            <a:pPr lvl="1"/>
            <a:r>
              <a:rPr lang="de-DE" dirty="0" smtClean="0"/>
              <a:t>Lasse die Testfälle laufe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WebDriv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040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13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Voraussetzungen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IDE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WebDriver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smtClean="0"/>
              <a:t>Diskussion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711" y="4121674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6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Fazit? </a:t>
            </a:r>
            <a:endParaRPr lang="de-DE" dirty="0"/>
          </a:p>
        </p:txBody>
      </p:sp>
      <p:grpSp>
        <p:nvGrpSpPr>
          <p:cNvPr id="2" name="Gruppierung 1"/>
          <p:cNvGrpSpPr/>
          <p:nvPr/>
        </p:nvGrpSpPr>
        <p:grpSpPr>
          <a:xfrm>
            <a:off x="419306" y="2019211"/>
            <a:ext cx="8315754" cy="775632"/>
            <a:chOff x="419306" y="1299883"/>
            <a:chExt cx="8315754" cy="775632"/>
          </a:xfrm>
        </p:grpSpPr>
        <p:sp>
          <p:nvSpPr>
            <p:cNvPr id="5" name="Rechteck 4"/>
            <p:cNvSpPr/>
            <p:nvPr/>
          </p:nvSpPr>
          <p:spPr bwMode="auto">
            <a:xfrm>
              <a:off x="419306" y="1688757"/>
              <a:ext cx="8315754" cy="386758"/>
            </a:xfrm>
            <a:prstGeom prst="rect">
              <a:avLst/>
            </a:prstGeom>
            <a:solidFill>
              <a:schemeClr val="accent3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marR="0" indent="-268920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422738" y="1299883"/>
              <a:ext cx="8312014" cy="388470"/>
            </a:xfrm>
            <a:prstGeom prst="rect">
              <a:avLst/>
            </a:prstGeom>
            <a:solidFill>
              <a:srgbClr val="44697D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noProof="0" dirty="0" smtClean="0">
                  <a:solidFill>
                    <a:srgbClr val="FFFFFF"/>
                  </a:solidFill>
                  <a:latin typeface="+mn-lt"/>
                </a:rPr>
                <a:t>Warum?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Richtungspfeil 6"/>
            <p:cNvSpPr/>
            <p:nvPr/>
          </p:nvSpPr>
          <p:spPr bwMode="auto">
            <a:xfrm>
              <a:off x="422003" y="1300480"/>
              <a:ext cx="2213428" cy="772160"/>
            </a:xfrm>
            <a:prstGeom prst="homePlate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6800" rIns="28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Fazit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21167" y="3005908"/>
            <a:ext cx="8316433" cy="803415"/>
            <a:chOff x="421167" y="2237812"/>
            <a:chExt cx="8316433" cy="803415"/>
          </a:xfrm>
        </p:grpSpPr>
        <p:sp>
          <p:nvSpPr>
            <p:cNvPr id="8" name="Rechteck 7"/>
            <p:cNvSpPr/>
            <p:nvPr/>
          </p:nvSpPr>
          <p:spPr bwMode="auto">
            <a:xfrm>
              <a:off x="426720" y="2237812"/>
              <a:ext cx="8310880" cy="803415"/>
            </a:xfrm>
            <a:prstGeom prst="rect">
              <a:avLst/>
            </a:prstGeom>
            <a:solidFill>
              <a:srgbClr val="DAE1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48400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Für kleinere Tests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421167" y="2239331"/>
              <a:ext cx="1847228" cy="799249"/>
            </a:xfrm>
            <a:prstGeom prst="rect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8000" tIns="46800" rIns="10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err="1" smtClean="0">
                  <a:solidFill>
                    <a:srgbClr val="FFFFFF"/>
                  </a:solidFill>
                  <a:latin typeface="+mn-lt"/>
                </a:rPr>
                <a:t>Selenium</a:t>
              </a:r>
              <a:r>
                <a:rPr lang="de-DE" sz="1800" b="0" kern="0" dirty="0" smtClean="0">
                  <a:solidFill>
                    <a:srgbClr val="FFFFFF"/>
                  </a:solidFill>
                  <a:latin typeface="+mn-lt"/>
                </a:rPr>
                <a:t> IDE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419306" y="4954991"/>
            <a:ext cx="8315754" cy="781581"/>
            <a:chOff x="419306" y="5137871"/>
            <a:chExt cx="8315754" cy="781581"/>
          </a:xfrm>
        </p:grpSpPr>
        <p:sp>
          <p:nvSpPr>
            <p:cNvPr id="20" name="Rechteck 19"/>
            <p:cNvSpPr/>
            <p:nvPr/>
          </p:nvSpPr>
          <p:spPr bwMode="auto">
            <a:xfrm>
              <a:off x="419306" y="5526342"/>
              <a:ext cx="8315754" cy="393110"/>
            </a:xfrm>
            <a:prstGeom prst="rect">
              <a:avLst/>
            </a:prstGeom>
            <a:solidFill>
              <a:srgbClr val="44697D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R="0" indent="-268920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Univers LT Std 47 Cn Lt" pitchFamily="34" charset="0"/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422738" y="5137871"/>
              <a:ext cx="8312014" cy="392206"/>
            </a:xfrm>
            <a:prstGeom prst="rect">
              <a:avLst/>
            </a:prstGeom>
            <a:solidFill>
              <a:srgbClr val="DAE1E5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de-DE" sz="1800" b="0" kern="0" dirty="0">
                <a:solidFill>
                  <a:srgbClr val="124768"/>
                </a:solidFill>
                <a:latin typeface="+mn-lt"/>
              </a:endParaRPr>
            </a:p>
          </p:txBody>
        </p:sp>
        <p:sp>
          <p:nvSpPr>
            <p:cNvPr id="22" name="Richtungspfeil 21"/>
            <p:cNvSpPr/>
            <p:nvPr/>
          </p:nvSpPr>
          <p:spPr bwMode="auto">
            <a:xfrm>
              <a:off x="423427" y="5138082"/>
              <a:ext cx="2213428" cy="780465"/>
            </a:xfrm>
            <a:prstGeom prst="homePlate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6800" rIns="28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421167" y="4021524"/>
            <a:ext cx="8316433" cy="803415"/>
            <a:chOff x="421167" y="3204660"/>
            <a:chExt cx="8316433" cy="803415"/>
          </a:xfrm>
        </p:grpSpPr>
        <p:sp>
          <p:nvSpPr>
            <p:cNvPr id="23" name="Rechteck 22"/>
            <p:cNvSpPr/>
            <p:nvPr/>
          </p:nvSpPr>
          <p:spPr bwMode="auto">
            <a:xfrm>
              <a:off x="426720" y="3204660"/>
              <a:ext cx="8310880" cy="803415"/>
            </a:xfrm>
            <a:prstGeom prst="rect">
              <a:avLst/>
            </a:prstGeom>
            <a:solidFill>
              <a:srgbClr val="DAE1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48400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Für wiederverwendbare/erweiterbare Tests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421167" y="3206179"/>
              <a:ext cx="1847228" cy="799249"/>
            </a:xfrm>
            <a:prstGeom prst="rect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8000" tIns="46800" rIns="10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Selenium</a:t>
              </a:r>
              <a:r>
                <a:rPr kumimoji="0" lang="de-DE" sz="1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 </a:t>
              </a:r>
              <a:r>
                <a:rPr kumimoji="0" lang="de-DE" sz="1800" b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WebDriver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496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15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236352" y="1365504"/>
            <a:ext cx="5854786" cy="1572768"/>
          </a:xfrm>
        </p:spPr>
        <p:txBody>
          <a:bodyPr/>
          <a:lstStyle/>
          <a:p>
            <a:r>
              <a:rPr lang="de-DE" dirty="0" smtClean="0"/>
              <a:t>Vielen Dank für Ihre Aufmerksamk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158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ctrTitle" sz="quarter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>
                <a:cs typeface="Univers LT Std 47 Cn Lt"/>
              </a:rPr>
              <a:t>Kontakt und Ansprechpartner</a:t>
            </a:r>
            <a:endParaRPr lang="de-DE" dirty="0">
              <a:cs typeface="Univers LT Std 47 Cn Lt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71714" y="1260154"/>
            <a:ext cx="319314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Katharina Knaus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Consultant</a:t>
            </a: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it-economics GmbH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Hebelstraße 15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76133 Karlsruhe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Fon 	0721 754 06 522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Fax 	</a:t>
            </a:r>
            <a:r>
              <a:rPr lang="de-DE" sz="1800" b="0" dirty="0" smtClean="0">
                <a:solidFill>
                  <a:srgbClr val="124768"/>
                </a:solidFill>
              </a:rPr>
              <a:t>0721 </a:t>
            </a:r>
            <a:r>
              <a:rPr lang="de-DE" sz="1800" b="0" dirty="0">
                <a:solidFill>
                  <a:srgbClr val="124768"/>
                </a:solidFill>
              </a:rPr>
              <a:t>754 06 </a:t>
            </a:r>
            <a:r>
              <a:rPr lang="de-DE" sz="1800" b="0" dirty="0" smtClean="0">
                <a:solidFill>
                  <a:srgbClr val="124768"/>
                </a:solidFill>
              </a:rPr>
              <a:t>531</a:t>
            </a: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/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Mobil 	0151– 40 60 50 37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  <a:hlinkClick r:id="rId4"/>
              </a:rPr>
              <a:t>www.it-economics.de</a:t>
            </a: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>
              <a:solidFill>
                <a:srgbClr val="12476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437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114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2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Voraussetzungen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IDE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WebDriver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smtClean="0"/>
              <a:t>Diskussion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7621" y="1917044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56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Für </a:t>
            </a:r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smtClean="0"/>
              <a:t>DIE Übungen: </a:t>
            </a:r>
            <a:endParaRPr lang="de-DE" dirty="0" smtClean="0"/>
          </a:p>
          <a:p>
            <a:pPr lvl="1"/>
            <a:r>
              <a:rPr lang="de-DE" dirty="0" smtClean="0"/>
              <a:t>Browser Firefox mit dem Plug-In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Für </a:t>
            </a:r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WebDriver</a:t>
            </a:r>
            <a:r>
              <a:rPr lang="de-DE" dirty="0" smtClean="0"/>
              <a:t> Übungen</a:t>
            </a:r>
          </a:p>
          <a:p>
            <a:pPr lvl="1"/>
            <a:r>
              <a:rPr lang="de-DE" dirty="0" err="1" smtClean="0"/>
              <a:t>Eclipse</a:t>
            </a:r>
            <a:r>
              <a:rPr lang="de-DE" dirty="0" smtClean="0"/>
              <a:t> oder andere IDE</a:t>
            </a:r>
          </a:p>
          <a:p>
            <a:pPr lvl="1"/>
            <a:r>
              <a:rPr lang="de-DE" dirty="0" smtClean="0"/>
              <a:t>JDK, am besten 1.7</a:t>
            </a:r>
          </a:p>
          <a:p>
            <a:pPr lvl="1"/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Jars</a:t>
            </a:r>
            <a:r>
              <a:rPr lang="de-DE" dirty="0" smtClean="0"/>
              <a:t> (werden bereitgestellt)</a:t>
            </a:r>
            <a:endParaRPr lang="de-DE" dirty="0" smtClean="0"/>
          </a:p>
          <a:p>
            <a:pPr lvl="1"/>
            <a:endParaRPr lang="de-DE" dirty="0"/>
          </a:p>
          <a:p>
            <a:pPr lvl="2"/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Voraussetzun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9213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4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Voraussetzungen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IDE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err="1" smtClean="0"/>
              <a:t>Selenium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WebDriver</a:t>
            </a:r>
            <a:endParaRPr lang="de-DE" b="0" kern="0" dirty="0" smtClean="0"/>
          </a:p>
          <a:p>
            <a:pPr>
              <a:lnSpc>
                <a:spcPct val="250000"/>
              </a:lnSpc>
            </a:pPr>
            <a:r>
              <a:rPr lang="de-DE" b="0" kern="0" dirty="0" smtClean="0"/>
              <a:t>Diskussion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711" y="2618916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61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1 : Aufnahme eines einfachen Testfalls</a:t>
            </a:r>
            <a:endParaRPr lang="de-DE" dirty="0" smtClean="0"/>
          </a:p>
          <a:p>
            <a:pPr lvl="1"/>
            <a:r>
              <a:rPr lang="de-DE" dirty="0"/>
              <a:t>Gehe auf die Seite </a:t>
            </a:r>
            <a:r>
              <a:rPr lang="de-DE" dirty="0">
                <a:hlinkClick r:id="rId3"/>
              </a:rPr>
              <a:t>http://jugs.org</a:t>
            </a:r>
            <a:r>
              <a:rPr lang="de-DE" dirty="0" smtClean="0">
                <a:hlinkClick r:id="rId3"/>
              </a:rPr>
              <a:t>/</a:t>
            </a:r>
            <a:endParaRPr lang="de-DE" dirty="0" smtClean="0"/>
          </a:p>
          <a:p>
            <a:pPr lvl="1"/>
            <a:r>
              <a:rPr lang="de-DE" dirty="0" smtClean="0"/>
              <a:t>Starte den </a:t>
            </a:r>
            <a:r>
              <a:rPr lang="de-DE" dirty="0" err="1" smtClean="0"/>
              <a:t>Recoder</a:t>
            </a:r>
            <a:endParaRPr lang="de-DE" dirty="0" smtClean="0"/>
          </a:p>
          <a:p>
            <a:pPr lvl="1"/>
            <a:r>
              <a:rPr lang="de-DE" dirty="0" smtClean="0"/>
              <a:t>Klicke auf Stuttgarter Test-Tage</a:t>
            </a:r>
          </a:p>
          <a:p>
            <a:pPr lvl="1"/>
            <a:r>
              <a:rPr lang="de-DE" dirty="0" smtClean="0"/>
              <a:t>Klicke auf Programm</a:t>
            </a:r>
          </a:p>
          <a:p>
            <a:pPr lvl="1"/>
            <a:r>
              <a:rPr lang="de-DE" dirty="0" smtClean="0"/>
              <a:t>Markiere den Text 16. April 2015, klicke mit Rechts und wähle „</a:t>
            </a:r>
            <a:r>
              <a:rPr lang="de-DE" dirty="0" err="1" smtClean="0"/>
              <a:t>assertText</a:t>
            </a:r>
            <a:r>
              <a:rPr lang="de-DE" dirty="0" smtClean="0"/>
              <a:t>“</a:t>
            </a:r>
          </a:p>
          <a:p>
            <a:pPr lvl="1"/>
            <a:r>
              <a:rPr lang="de-DE" dirty="0"/>
              <a:t>Klicke auf Modellbasiertes manuelles Testen: Techniken und Tücken</a:t>
            </a:r>
            <a:endParaRPr lang="de-DE" dirty="0" smtClean="0"/>
          </a:p>
          <a:p>
            <a:pPr lvl="1"/>
            <a:r>
              <a:rPr lang="de-DE" dirty="0" smtClean="0"/>
              <a:t>Stoppe die Aufnahme und spiele den Test ab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2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2 : Verwendung von </a:t>
            </a:r>
            <a:r>
              <a:rPr lang="de-DE" dirty="0" err="1" smtClean="0"/>
              <a:t>assert</a:t>
            </a:r>
            <a:r>
              <a:rPr lang="de-DE" dirty="0" smtClean="0"/>
              <a:t> und </a:t>
            </a:r>
            <a:r>
              <a:rPr lang="de-DE" dirty="0" err="1" smtClean="0"/>
              <a:t>verify</a:t>
            </a:r>
            <a:endParaRPr lang="de-DE" dirty="0" smtClean="0"/>
          </a:p>
          <a:p>
            <a:pPr lvl="1"/>
            <a:r>
              <a:rPr lang="de-DE" dirty="0" smtClean="0"/>
              <a:t>Modifiziere den Test aus Übung </a:t>
            </a:r>
            <a:r>
              <a:rPr lang="de-DE" dirty="0" err="1" smtClean="0"/>
              <a:t>Nr</a:t>
            </a:r>
            <a:r>
              <a:rPr lang="de-DE" dirty="0" smtClean="0"/>
              <a:t> 1 in der IDE</a:t>
            </a:r>
          </a:p>
          <a:p>
            <a:pPr lvl="1"/>
            <a:r>
              <a:rPr lang="de-DE" dirty="0" smtClean="0"/>
              <a:t>Ändere das Datum </a:t>
            </a:r>
            <a:r>
              <a:rPr lang="de-DE" dirty="0"/>
              <a:t>vom </a:t>
            </a:r>
            <a:r>
              <a:rPr lang="de-DE" dirty="0" smtClean="0"/>
              <a:t>16.04.2015 </a:t>
            </a:r>
            <a:r>
              <a:rPr lang="de-DE" dirty="0"/>
              <a:t>auf </a:t>
            </a:r>
            <a:r>
              <a:rPr lang="de-DE" dirty="0" smtClean="0"/>
              <a:t>den 16.04.2014 ab</a:t>
            </a:r>
          </a:p>
          <a:p>
            <a:pPr lvl="1"/>
            <a:r>
              <a:rPr lang="de-DE" dirty="0" smtClean="0"/>
              <a:t>Lasse den Test laufen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Ändere </a:t>
            </a:r>
            <a:r>
              <a:rPr lang="de-DE" dirty="0" err="1" smtClean="0"/>
              <a:t>assertText</a:t>
            </a:r>
            <a:r>
              <a:rPr lang="de-DE" dirty="0" smtClean="0"/>
              <a:t> zu </a:t>
            </a:r>
            <a:r>
              <a:rPr lang="de-DE" dirty="0" err="1" smtClean="0"/>
              <a:t>verifyText</a:t>
            </a:r>
            <a:endParaRPr lang="de-DE" dirty="0" smtClean="0"/>
          </a:p>
          <a:p>
            <a:pPr lvl="1"/>
            <a:r>
              <a:rPr lang="de-DE" dirty="0" smtClean="0"/>
              <a:t>Lasse den Test laufe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ID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914" y="2217243"/>
            <a:ext cx="4500011" cy="409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3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3 : Teste Ajax Elemente</a:t>
            </a:r>
            <a:endParaRPr lang="de-DE" dirty="0" smtClean="0"/>
          </a:p>
          <a:p>
            <a:pPr lvl="1"/>
            <a:r>
              <a:rPr lang="de-DE" dirty="0" smtClean="0"/>
              <a:t>Gehe auf http</a:t>
            </a:r>
            <a:r>
              <a:rPr lang="de-DE" dirty="0"/>
              <a:t>://www.postdirekt.de/plzserver/ </a:t>
            </a:r>
            <a:r>
              <a:rPr lang="de-DE" dirty="0" smtClean="0"/>
              <a:t> und starte die Aufnahme</a:t>
            </a:r>
          </a:p>
          <a:p>
            <a:pPr lvl="1"/>
            <a:r>
              <a:rPr lang="de-DE" dirty="0" smtClean="0"/>
              <a:t>Gebe „Stuttgart“ in das Feld „Ort“ ein</a:t>
            </a:r>
          </a:p>
          <a:p>
            <a:pPr lvl="1"/>
            <a:r>
              <a:rPr lang="de-DE" dirty="0" smtClean="0"/>
              <a:t>Lasse die Checkbox auf „Postleitzahl“</a:t>
            </a:r>
          </a:p>
          <a:p>
            <a:pPr lvl="1"/>
            <a:r>
              <a:rPr lang="de-DE" dirty="0" smtClean="0"/>
              <a:t>Klicke auf Finden</a:t>
            </a:r>
          </a:p>
          <a:p>
            <a:pPr lvl="1"/>
            <a:r>
              <a:rPr lang="de-DE" dirty="0" smtClean="0"/>
              <a:t>Es erscheint eine Ergebnisliste</a:t>
            </a:r>
          </a:p>
          <a:p>
            <a:pPr lvl="1"/>
            <a:r>
              <a:rPr lang="de-DE" dirty="0" smtClean="0"/>
              <a:t>Klicke auf das Tabellenelement „70 …Stuttgart“ mit rechts</a:t>
            </a:r>
          </a:p>
          <a:p>
            <a:pPr lvl="1"/>
            <a:r>
              <a:rPr lang="de-DE" dirty="0" smtClean="0"/>
              <a:t>Wähle „</a:t>
            </a:r>
            <a:r>
              <a:rPr lang="de-DE" dirty="0" err="1" smtClean="0"/>
              <a:t>waitForText</a:t>
            </a:r>
            <a:r>
              <a:rPr lang="de-DE" dirty="0" smtClean="0"/>
              <a:t>“ aus</a:t>
            </a:r>
          </a:p>
          <a:p>
            <a:pPr lvl="1"/>
            <a:r>
              <a:rPr lang="de-DE" dirty="0" smtClean="0"/>
              <a:t>Klicke nochmals </a:t>
            </a:r>
            <a:r>
              <a:rPr lang="de-DE" dirty="0"/>
              <a:t>auf das Tabellenelement „70 …Stuttgart“ mit </a:t>
            </a:r>
            <a:r>
              <a:rPr lang="de-DE" dirty="0" smtClean="0"/>
              <a:t>rechts</a:t>
            </a:r>
          </a:p>
          <a:p>
            <a:pPr lvl="1"/>
            <a:r>
              <a:rPr lang="de-DE" dirty="0" smtClean="0"/>
              <a:t>Wähle „</a:t>
            </a:r>
            <a:r>
              <a:rPr lang="de-DE" dirty="0" err="1" smtClean="0"/>
              <a:t>verify</a:t>
            </a:r>
            <a:r>
              <a:rPr lang="de-DE" dirty="0" err="1" smtClean="0"/>
              <a:t>Text</a:t>
            </a:r>
            <a:r>
              <a:rPr lang="de-DE" dirty="0" smtClean="0"/>
              <a:t>“ aus</a:t>
            </a:r>
            <a:endParaRPr lang="de-DE" dirty="0"/>
          </a:p>
          <a:p>
            <a:pPr lvl="1"/>
            <a:r>
              <a:rPr lang="de-DE" dirty="0" smtClean="0"/>
              <a:t>Lasse den Test laufen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Ändere das Timeout für das Warten auf 30 Sekunden in Options -&gt; Options -&gt; General -&gt; Default Timeout (in </a:t>
            </a:r>
            <a:r>
              <a:rPr lang="de-DE" dirty="0" err="1" smtClean="0"/>
              <a:t>millisecs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Lasse den Test laufe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187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4 : Debugging</a:t>
            </a:r>
            <a:endParaRPr lang="de-DE" dirty="0" smtClean="0"/>
          </a:p>
          <a:p>
            <a:pPr lvl="1"/>
            <a:r>
              <a:rPr lang="de-DE" dirty="0" smtClean="0"/>
              <a:t>Lasse den Testfall aus Übung 3 im </a:t>
            </a:r>
            <a:r>
              <a:rPr lang="de-DE" dirty="0" err="1" smtClean="0"/>
              <a:t>Debugmodus</a:t>
            </a:r>
            <a:r>
              <a:rPr lang="de-DE" dirty="0" smtClean="0"/>
              <a:t> laufen </a:t>
            </a:r>
          </a:p>
          <a:p>
            <a:pPr lvl="1"/>
            <a:r>
              <a:rPr lang="de-DE" dirty="0" smtClean="0"/>
              <a:t>Klicke auf jedes Kommando einzeln, und führe es aus, indem der Button x gedrückt wird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051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Übung 5 : Export als </a:t>
            </a:r>
            <a:r>
              <a:rPr lang="de-DE" dirty="0" err="1" smtClean="0"/>
              <a:t>JUnit</a:t>
            </a:r>
            <a:r>
              <a:rPr lang="de-DE" dirty="0" smtClean="0"/>
              <a:t> </a:t>
            </a:r>
            <a:endParaRPr lang="de-DE" dirty="0" smtClean="0"/>
          </a:p>
          <a:p>
            <a:pPr lvl="1"/>
            <a:r>
              <a:rPr lang="de-DE" dirty="0" smtClean="0"/>
              <a:t>Exportiere jeden erstellten Testfall nach Java</a:t>
            </a:r>
          </a:p>
          <a:p>
            <a:pPr lvl="1"/>
            <a:r>
              <a:rPr lang="de-DE" dirty="0" smtClean="0"/>
              <a:t>Klicke auf Datei -&gt; Exportiert </a:t>
            </a:r>
            <a:r>
              <a:rPr lang="de-DE" dirty="0" err="1" smtClean="0"/>
              <a:t>Testcase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… - &gt; </a:t>
            </a:r>
            <a:r>
              <a:rPr lang="de-DE" dirty="0" err="1" smtClean="0"/>
              <a:t>JUnit</a:t>
            </a:r>
            <a:r>
              <a:rPr lang="de-DE" dirty="0" smtClean="0"/>
              <a:t> 4 </a:t>
            </a:r>
            <a:r>
              <a:rPr lang="de-DE" dirty="0" err="1" smtClean="0"/>
              <a:t>WebDriver</a:t>
            </a:r>
            <a:endParaRPr lang="de-DE" dirty="0" smtClean="0"/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err="1" smtClean="0"/>
              <a:t>Selenium</a:t>
            </a:r>
            <a:r>
              <a:rPr lang="de-DE" dirty="0" smtClean="0"/>
              <a:t> 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134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te-Praesentationstemplate">
  <a:themeElements>
    <a:clrScheme name="it-economics CI-Farbwelt">
      <a:dk1>
        <a:srgbClr val="124768"/>
      </a:dk1>
      <a:lt1>
        <a:srgbClr val="44697D"/>
      </a:lt1>
      <a:dk2>
        <a:srgbClr val="FFFFFF"/>
      </a:dk2>
      <a:lt2>
        <a:srgbClr val="B4C3CB"/>
      </a:lt2>
      <a:accent1>
        <a:srgbClr val="9A8419"/>
      </a:accent1>
      <a:accent2>
        <a:srgbClr val="E0D9D0"/>
      </a:accent2>
      <a:accent3>
        <a:srgbClr val="DAE1E5"/>
      </a:accent3>
      <a:accent4>
        <a:srgbClr val="EBE6D1"/>
      </a:accent4>
      <a:accent5>
        <a:srgbClr val="B3AEA7"/>
      </a:accent5>
      <a:accent6>
        <a:srgbClr val="DE8000"/>
      </a:accent6>
      <a:hlink>
        <a:srgbClr val="44697D"/>
      </a:hlink>
      <a:folHlink>
        <a:srgbClr val="8FA5B1"/>
      </a:folHlink>
    </a:clrScheme>
    <a:fontScheme name="Office 2">
      <a:majorFont>
        <a:latin typeface="UniversLTStd-LightCn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UniversLTStd-LightCn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0">
          <a:noFill/>
          <a:prstDash val="solid"/>
          <a:round/>
          <a:headEnd/>
          <a:tailEnd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a:spPr>
      <a:bodyPr vert="horz" wrap="square" lIns="144000" tIns="93600" rIns="144000" bIns="936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800" b="0" kern="0" dirty="0">
            <a:solidFill>
              <a:srgbClr val="FFFFFF"/>
            </a:solidFill>
            <a:latin typeface="Univers LT Std 47 Cn L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rgbClr val="002645"/>
            </a:solidFill>
            <a:effectLst/>
            <a:latin typeface="Univers LT Std 47 Cn Lt" pitchFamily="2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>
            <a:latin typeface="Univers LT Std 47 Cn Lt" pitchFamily="34" charset="0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83</Words>
  <Application>Microsoft Office PowerPoint</Application>
  <PresentationFormat>Bildschirmpräsentation (4:3)</PresentationFormat>
  <Paragraphs>143</Paragraphs>
  <Slides>16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Arial</vt:lpstr>
      <vt:lpstr>Times New Roman</vt:lpstr>
      <vt:lpstr>Univers 47 Condensed Light</vt:lpstr>
      <vt:lpstr>Univers LT Std 47 Cn Lt</vt:lpstr>
      <vt:lpstr>UniversLTStd-LightCn</vt:lpstr>
      <vt:lpstr>ite-Praesentationstemplate</vt:lpstr>
      <vt:lpstr>think-cell Folie</vt:lpstr>
      <vt:lpstr>PowerPoint-Präsentation</vt:lpstr>
      <vt:lpstr>Agenda</vt:lpstr>
      <vt:lpstr>Voraussetzungen</vt:lpstr>
      <vt:lpstr>Agenda</vt:lpstr>
      <vt:lpstr>Selenium IDE</vt:lpstr>
      <vt:lpstr>Selenium IDE</vt:lpstr>
      <vt:lpstr>Selenium IDE</vt:lpstr>
      <vt:lpstr>Selenium IDE</vt:lpstr>
      <vt:lpstr>Selenium IDE</vt:lpstr>
      <vt:lpstr>Agenda</vt:lpstr>
      <vt:lpstr>Selenium WebDriver</vt:lpstr>
      <vt:lpstr>Selenium WebDriver</vt:lpstr>
      <vt:lpstr>Agenda</vt:lpstr>
      <vt:lpstr>Fazit? </vt:lpstr>
      <vt:lpstr>Vielen Dank für Ihre Aufmerksamkeit</vt:lpstr>
      <vt:lpstr>Kontakt und Ansprechpartne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Zötl</dc:creator>
  <cp:lastModifiedBy>kknaus</cp:lastModifiedBy>
  <cp:revision>808</cp:revision>
  <cp:lastPrinted>2015-01-19T12:33:26Z</cp:lastPrinted>
  <dcterms:created xsi:type="dcterms:W3CDTF">2010-08-06T08:11:25Z</dcterms:created>
  <dcterms:modified xsi:type="dcterms:W3CDTF">2015-04-07T17:27:37Z</dcterms:modified>
</cp:coreProperties>
</file>